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47"/>
  </p:notesMasterIdLst>
  <p:sldIdLst>
    <p:sldId id="1449" r:id="rId24"/>
    <p:sldId id="1459" r:id="rId25"/>
    <p:sldId id="1460" r:id="rId26"/>
    <p:sldId id="1461" r:id="rId27"/>
    <p:sldId id="1462" r:id="rId28"/>
    <p:sldId id="1463" r:id="rId29"/>
    <p:sldId id="1464" r:id="rId30"/>
    <p:sldId id="1481" r:id="rId31"/>
    <p:sldId id="1480" r:id="rId32"/>
    <p:sldId id="1469" r:id="rId33"/>
    <p:sldId id="1470" r:id="rId34"/>
    <p:sldId id="1471" r:id="rId35"/>
    <p:sldId id="1472" r:id="rId36"/>
    <p:sldId id="1473" r:id="rId37"/>
    <p:sldId id="1474" r:id="rId38"/>
    <p:sldId id="1475" r:id="rId39"/>
    <p:sldId id="1476" r:id="rId40"/>
    <p:sldId id="1477" r:id="rId41"/>
    <p:sldId id="1478" r:id="rId42"/>
    <p:sldId id="1479" r:id="rId43"/>
    <p:sldId id="1482" r:id="rId44"/>
    <p:sldId id="1466" r:id="rId45"/>
    <p:sldId id="1467" r:id="rId46"/>
  </p:sldIdLst>
  <p:sldSz cx="12198350" cy="6858000"/>
  <p:notesSz cx="6858000" cy="9144000"/>
  <p:custDataLst>
    <p:tags r:id="rId4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51" autoAdjust="0"/>
    <p:restoredTop sz="82743" autoAdjust="0"/>
  </p:normalViewPr>
  <p:slideViewPr>
    <p:cSldViewPr>
      <p:cViewPr varScale="1">
        <p:scale>
          <a:sx n="113" d="100"/>
          <a:sy n="113" d="100"/>
        </p:scale>
        <p:origin x="192" y="504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9" Type="http://schemas.openxmlformats.org/officeDocument/2006/relationships/slide" Target="slides/slide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20" Type="http://schemas.openxmlformats.org/officeDocument/2006/relationships/slideMaster" Target="slideMasters/slideMaster7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/4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098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33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2/4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2/4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2/4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2/4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2/4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2/4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2/4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2/4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2/4/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2/4/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2/4/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2/4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2/4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plugfest.thingweb.io/playground/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2016/12/wot-wg-2016.html" TargetMode="External"/><Relationship Id="rId13" Type="http://schemas.openxmlformats.org/officeDocument/2006/relationships/hyperlink" Target="https://www.w3.org/TR/wot-binding-templates/" TargetMode="External"/><Relationship Id="rId18" Type="http://schemas.openxmlformats.org/officeDocument/2006/relationships/hyperlink" Target="https://w3c.github.io/wot-binding-templates/" TargetMode="External"/><Relationship Id="rId26" Type="http://schemas.openxmlformats.org/officeDocument/2006/relationships/image" Target="../media/image24.png"/><Relationship Id="rId3" Type="http://schemas.openxmlformats.org/officeDocument/2006/relationships/hyperlink" Target="https://www.w3.org/2016/07/wot-ig-charter.html" TargetMode="External"/><Relationship Id="rId21" Type="http://schemas.openxmlformats.org/officeDocument/2006/relationships/hyperlink" Target="https://github.com/w3c/wot-security-best-practices/" TargetMode="External"/><Relationship Id="rId7" Type="http://schemas.openxmlformats.org/officeDocument/2006/relationships/hyperlink" Target="https://github.com/w3c/wot" TargetMode="External"/><Relationship Id="rId12" Type="http://schemas.openxmlformats.org/officeDocument/2006/relationships/hyperlink" Target="https://www.w3.org/TR/wot-thing-description/" TargetMode="External"/><Relationship Id="rId17" Type="http://schemas.openxmlformats.org/officeDocument/2006/relationships/hyperlink" Target="https://w3c.github.io/wot-thing-description/" TargetMode="External"/><Relationship Id="rId25" Type="http://schemas.openxmlformats.org/officeDocument/2006/relationships/image" Target="../media/image3.png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architecture/" TargetMode="External"/><Relationship Id="rId20" Type="http://schemas.openxmlformats.org/officeDocument/2006/relationships/hyperlink" Target="https://github.com/w3c/wot-security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lists.w3.org/Archives/Public/public-wot-ig/" TargetMode="External"/><Relationship Id="rId11" Type="http://schemas.openxmlformats.org/officeDocument/2006/relationships/hyperlink" Target="https://www.w3.org/TR/wot-architecture/" TargetMode="External"/><Relationship Id="rId24" Type="http://schemas.openxmlformats.org/officeDocument/2006/relationships/hyperlink" Target="https://github.com/thingweb/thingweb-playground" TargetMode="External"/><Relationship Id="rId5" Type="http://schemas.openxmlformats.org/officeDocument/2006/relationships/hyperlink" Target="https://www.w3.org/WoT/IG/" TargetMode="External"/><Relationship Id="rId15" Type="http://schemas.openxmlformats.org/officeDocument/2006/relationships/hyperlink" Target="https://www.w3.org/TR/wot-security/" TargetMode="External"/><Relationship Id="rId23" Type="http://schemas.openxmlformats.org/officeDocument/2006/relationships/hyperlink" Target="https://github.com/eclipse/thingweb.node-wot" TargetMode="External"/><Relationship Id="rId10" Type="http://schemas.openxmlformats.org/officeDocument/2006/relationships/hyperlink" Target="https://www.w3.org/WoT/WG/" TargetMode="External"/><Relationship Id="rId19" Type="http://schemas.openxmlformats.org/officeDocument/2006/relationships/hyperlink" Target="https://github.com/w3c/wot-scripting-api/" TargetMode="External"/><Relationship Id="rId4" Type="http://schemas.openxmlformats.org/officeDocument/2006/relationships/hyperlink" Target="https://www.w3.org/2019/10/wot-ig-2019.html" TargetMode="External"/><Relationship Id="rId9" Type="http://schemas.openxmlformats.org/officeDocument/2006/relationships/hyperlink" Target="https://cdn.statically.io/gh/w3c/wot/master/charters/wot-wg-charter-draft-2019.html?env=dev" TargetMode="External"/><Relationship Id="rId14" Type="http://schemas.openxmlformats.org/officeDocument/2006/relationships/hyperlink" Target="https://www.w3.org/TR/wot-scripting-api/" TargetMode="External"/><Relationship Id="rId22" Type="http://schemas.openxmlformats.org/officeDocument/2006/relationships/hyperlink" Target="https://github.com/w3c/wot-profile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sebastian.kaebisch@siemens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png"/><Relationship Id="rId4" Type="http://schemas.openxmlformats.org/officeDocument/2006/relationships/hyperlink" Target="https://www.w3.org/WoT/WG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Status Update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/>
          </a:bodyPr>
          <a:lstStyle/>
          <a:p>
            <a:r>
              <a:rPr lang="en-US" sz="4000" dirty="0"/>
              <a:t>February 2020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68178" y="188640"/>
            <a:ext cx="7981475" cy="42484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EB7FDF5-72D2-4174-B199-384E0CFFD7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49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C3AFFB-B100-45E7-A238-1F3C21E28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3384" y="404664"/>
            <a:ext cx="5811144" cy="1143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Plugfest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0387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B5E8B-2EF8-49F9-A9CF-CEA391B81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4514998" cy="1143000"/>
          </a:xfrm>
        </p:spPr>
        <p:txBody>
          <a:bodyPr/>
          <a:lstStyle/>
          <a:p>
            <a:r>
              <a:rPr lang="en-US" dirty="0" err="1"/>
              <a:t>Plugfest</a:t>
            </a:r>
            <a:r>
              <a:rPr lang="en-US" dirty="0"/>
              <a:t> Devic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39AF894-6648-46BB-B665-50FC6CB935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0663" y="199369"/>
            <a:ext cx="10416989" cy="6459261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18A6A41E-DFBA-2846-96F6-E058DF5098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5574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1: Home/Building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A6087080-281A-46EF-BB68-6993FD15E6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756" y="1052736"/>
            <a:ext cx="10686838" cy="5590798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8B1EEF96-2FB3-2741-B875-9C605578B4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04465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18749" cy="686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808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9110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2: Industrial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6A25BC4-6922-45B8-AB40-434070A3D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96"/>
          <a:stretch/>
        </p:blipFill>
        <p:spPr>
          <a:xfrm>
            <a:off x="590563" y="1058782"/>
            <a:ext cx="11017224" cy="5763640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90845121-5515-B74E-8A17-FFE86B7818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45208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40C51-6E29-4502-990C-D17A2EE20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D5147EF-8A08-45D9-A3AD-49BD54EFC0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376726" cy="6961909"/>
          </a:xfrm>
        </p:spPr>
      </p:pic>
    </p:spTree>
    <p:extLst>
      <p:ext uri="{BB962C8B-B14F-4D97-AF65-F5344CB8AC3E}">
        <p14:creationId xmlns:p14="http://schemas.microsoft.com/office/powerpoint/2010/main" val="29145493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8B3707-8191-4D6B-8E05-E76514FFE5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8350" cy="6861572"/>
          </a:xfrm>
        </p:spPr>
      </p:pic>
    </p:spTree>
    <p:extLst>
      <p:ext uri="{BB962C8B-B14F-4D97-AF65-F5344CB8AC3E}">
        <p14:creationId xmlns:p14="http://schemas.microsoft.com/office/powerpoint/2010/main" val="8169879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B270B-4716-43F9-A370-4D93CEAF6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HK </a:t>
            </a:r>
            <a:r>
              <a:rPr lang="en-US" dirty="0" err="1"/>
              <a:t>Hybridcast</a:t>
            </a:r>
            <a:r>
              <a:rPr lang="en-US" dirty="0"/>
              <a:t> Integ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3F80AB7-0B2D-48B7-B0FC-09F31A62CDB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434" y="1988840"/>
            <a:ext cx="11751482" cy="3312368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434508D1-7230-9B4E-827B-FAA1CFED0E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574072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D546F-EF16-46E0-AA15-58D27189F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E36936A-35AE-4359-A5C6-DBEB40E5E4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056" y="0"/>
            <a:ext cx="12210405" cy="6858000"/>
          </a:xfrm>
        </p:spPr>
      </p:pic>
    </p:spTree>
    <p:extLst>
      <p:ext uri="{BB962C8B-B14F-4D97-AF65-F5344CB8AC3E}">
        <p14:creationId xmlns:p14="http://schemas.microsoft.com/office/powerpoint/2010/main" val="12055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  <a:p>
            <a:pPr lvl="1"/>
            <a:r>
              <a:rPr lang="en-US" b="1" i="1" dirty="0"/>
              <a:t>IG charter renewal October 201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/>
              <a:t>W3C WoT Working Group (WG)</a:t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Architecture and Thing Description have both transitioned to Proposed Recommendations  in late January 2020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Transition to W3C Recommendations expected in March 2020</a:t>
            </a:r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lvl="1"/>
            <a:r>
              <a:rPr lang="en-US" b="1" i="1" dirty="0"/>
              <a:t>WG charter renewed January 2020</a:t>
            </a:r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  <p:pic>
        <p:nvPicPr>
          <p:cNvPr id="6" name="Picture 4" descr="C:\Users\z0010w1v\Pictures\wot-logo.png">
            <a:extLst>
              <a:ext uri="{FF2B5EF4-FFF2-40B4-BE49-F238E27FC236}">
                <a16:creationId xmlns:a16="http://schemas.microsoft.com/office/drawing/2014/main" id="{5BBB8541-D4A8-4848-9556-B27FF8E278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3269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85D53-C6C5-4E80-9233-F7DB39FFE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chest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27A1525-BC11-40C3-9FD3-C21B2D948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583" y="1723050"/>
            <a:ext cx="5904656" cy="4688992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0EDB23B-60D9-49C7-9A5C-5216D978B944}"/>
              </a:ext>
            </a:extLst>
          </p:cNvPr>
          <p:cNvSpPr txBox="1">
            <a:spLocks/>
          </p:cNvSpPr>
          <p:nvPr/>
        </p:nvSpPr>
        <p:spPr>
          <a:xfrm>
            <a:off x="2426767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R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8408BEE-1AB9-4BC9-85C5-F66512428815}"/>
              </a:ext>
            </a:extLst>
          </p:cNvPr>
          <p:cNvSpPr txBox="1">
            <a:spLocks/>
          </p:cNvSpPr>
          <p:nvPr/>
        </p:nvSpPr>
        <p:spPr>
          <a:xfrm>
            <a:off x="7755359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wo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4A7A71-068D-4DF5-B14A-DE255DFF4ED0}"/>
              </a:ext>
            </a:extLst>
          </p:cNvPr>
          <p:cNvSpPr txBox="1"/>
          <p:nvPr/>
        </p:nvSpPr>
        <p:spPr>
          <a:xfrm>
            <a:off x="6855259" y="1436056"/>
            <a:ext cx="468052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WoTHelpers.fetch</a:t>
            </a:r>
            <a:r>
              <a:rPr lang="en-US" sz="1050" dirty="0"/>
              <a:t>("</a:t>
            </a:r>
            <a:r>
              <a:rPr lang="en-US" sz="1050" dirty="0" err="1"/>
              <a:t>coap</a:t>
            </a:r>
            <a:r>
              <a:rPr lang="en-US" sz="1050" dirty="0"/>
              <a:t>://localhost:5683/counter").then( async (td) =&gt; {</a:t>
            </a:r>
          </a:p>
          <a:p>
            <a:r>
              <a:rPr lang="en-US" sz="1050" dirty="0"/>
              <a:t>  // using await for serial execution (note 'async' in then() of fetch())</a:t>
            </a:r>
          </a:p>
          <a:p>
            <a:r>
              <a:rPr lang="en-US" sz="1050" dirty="0"/>
              <a:t>  try {</a:t>
            </a:r>
          </a:p>
          <a:p>
            <a:r>
              <a:rPr lang="en-US" sz="1050" dirty="0"/>
              <a:t>    let thing = await </a:t>
            </a:r>
            <a:r>
              <a:rPr lang="en-US" sz="1050" dirty="0" err="1"/>
              <a:t>WoT.consume</a:t>
            </a:r>
            <a:r>
              <a:rPr lang="en-US" sz="1050" dirty="0"/>
              <a:t>(td);</a:t>
            </a:r>
          </a:p>
          <a:p>
            <a:r>
              <a:rPr lang="en-US" sz="1050" dirty="0"/>
              <a:t>    console.info("=== TD ===");</a:t>
            </a:r>
          </a:p>
          <a:p>
            <a:r>
              <a:rPr lang="en-US" sz="1050" dirty="0"/>
              <a:t>    console.info(td);</a:t>
            </a:r>
          </a:p>
          <a:p>
            <a:r>
              <a:rPr lang="en-US" sz="1050" dirty="0"/>
              <a:t>    console.info("==========");</a:t>
            </a:r>
          </a:p>
          <a:p>
            <a:r>
              <a:rPr lang="en-US" sz="1050" dirty="0"/>
              <a:t>  </a:t>
            </a:r>
          </a:p>
          <a:p>
            <a:r>
              <a:rPr lang="en-US" sz="1050" dirty="0"/>
              <a:t>    // read property #1</a:t>
            </a:r>
          </a:p>
          <a:p>
            <a:r>
              <a:rPr lang="en-US" sz="1050" dirty="0"/>
              <a:t>    let read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is", read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1 (without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);</a:t>
            </a:r>
          </a:p>
          <a:p>
            <a:r>
              <a:rPr lang="en-US" sz="1050" dirty="0"/>
              <a:t>    let in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1 is", inc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2 (with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, {'step' : 3});</a:t>
            </a:r>
          </a:p>
          <a:p>
            <a:r>
              <a:rPr lang="en-US" sz="1050" dirty="0"/>
              <a:t>    let inc2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2 (with step 3) is", inc2);</a:t>
            </a:r>
          </a:p>
          <a:p>
            <a:r>
              <a:rPr lang="en-US" sz="1050" dirty="0"/>
              <a:t>        </a:t>
            </a:r>
          </a:p>
          <a:p>
            <a:r>
              <a:rPr lang="en-US" sz="1050" dirty="0"/>
              <a:t>    // decrement property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decrement");</a:t>
            </a:r>
          </a:p>
          <a:p>
            <a:r>
              <a:rPr lang="en-US" sz="1050" dirty="0"/>
              <a:t>    let de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decrement is", dec1);</a:t>
            </a:r>
          </a:p>
          <a:p>
            <a:endParaRPr lang="en-US" sz="1050" dirty="0"/>
          </a:p>
          <a:p>
            <a:r>
              <a:rPr lang="en-US" sz="1050" dirty="0"/>
              <a:t>  } catch(err) {</a:t>
            </a:r>
          </a:p>
          <a:p>
            <a:r>
              <a:rPr lang="en-US" sz="1050" dirty="0"/>
              <a:t>    </a:t>
            </a:r>
            <a:r>
              <a:rPr lang="en-US" sz="1050" dirty="0" err="1"/>
              <a:t>console.error</a:t>
            </a:r>
            <a:r>
              <a:rPr lang="en-US" sz="1050" dirty="0"/>
              <a:t>("Script error:", err);</a:t>
            </a:r>
          </a:p>
          <a:p>
            <a:r>
              <a:rPr lang="en-US" sz="1050" dirty="0"/>
              <a:t>  }</a:t>
            </a:r>
          </a:p>
          <a:p>
            <a:endParaRPr lang="en-US" sz="1050" dirty="0"/>
          </a:p>
          <a:p>
            <a:r>
              <a:rPr lang="en-US" sz="1050" dirty="0"/>
              <a:t>}).catch( (err) =&gt; { </a:t>
            </a:r>
            <a:r>
              <a:rPr lang="en-US" sz="1050" dirty="0" err="1"/>
              <a:t>console.error</a:t>
            </a:r>
            <a:r>
              <a:rPr lang="en-US" sz="1050" dirty="0"/>
              <a:t>("Fetch error:", err); });</a:t>
            </a:r>
          </a:p>
        </p:txBody>
      </p:sp>
      <p:pic>
        <p:nvPicPr>
          <p:cNvPr id="1026" name="Picture 2" descr="http://www.thingweb.io/img/logo.png">
            <a:extLst>
              <a:ext uri="{FF2B5EF4-FFF2-40B4-BE49-F238E27FC236}">
                <a16:creationId xmlns:a16="http://schemas.microsoft.com/office/drawing/2014/main" id="{FCF7ADAD-C716-482C-9776-469246A63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5539" y="1937485"/>
            <a:ext cx="2340260" cy="75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C:\Users\z0010w1v\Pictures\wot-logo.png">
            <a:extLst>
              <a:ext uri="{FF2B5EF4-FFF2-40B4-BE49-F238E27FC236}">
                <a16:creationId xmlns:a16="http://schemas.microsoft.com/office/drawing/2014/main" id="{33C754C7-7168-574C-8313-A909867F05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514116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468B-F141-224E-A03D-16E604DD6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 Description Playgroun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C6EFD35-1034-EA4B-8B8D-04A9E3DDE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1</a:t>
            </a:fld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214D0A5-7E72-6740-8536-942A40ED29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8615" y="959534"/>
            <a:ext cx="9721080" cy="553765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E4FAAD7-F626-5841-8EC4-81B78A7503CA}"/>
              </a:ext>
            </a:extLst>
          </p:cNvPr>
          <p:cNvSpPr txBox="1"/>
          <p:nvPr/>
        </p:nvSpPr>
        <p:spPr>
          <a:xfrm>
            <a:off x="9123511" y="6567715"/>
            <a:ext cx="18870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>
                <a:hlinkClick r:id="rId3"/>
              </a:rPr>
              <a:t>http://plugfest.thingweb.io/playground/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6652739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old charter)</a:t>
            </a:r>
          </a:p>
          <a:p>
            <a:pPr lvl="1"/>
            <a:r>
              <a:rPr lang="en-US" sz="2100" dirty="0">
                <a:hlinkClick r:id="rId4"/>
              </a:rPr>
              <a:t>https://www.w3.org/2019/10/wot-ig-2019.html</a:t>
            </a:r>
            <a:br>
              <a:rPr lang="en-US" sz="2100" dirty="0"/>
            </a:br>
            <a:r>
              <a:rPr lang="en-US" sz="2100" dirty="0"/>
              <a:t>(new charter)</a:t>
            </a:r>
            <a:endParaRPr lang="en-US" sz="2100" dirty="0">
              <a:hlinkClick r:id="rId5"/>
            </a:endParaRPr>
          </a:p>
          <a:p>
            <a:pPr lvl="1"/>
            <a:r>
              <a:rPr lang="en-US" sz="2100" dirty="0">
                <a:hlinkClick r:id="rId6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7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8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old charter)</a:t>
            </a:r>
          </a:p>
          <a:p>
            <a:pPr lvl="1"/>
            <a:r>
              <a:rPr lang="en-US" sz="2100" dirty="0">
                <a:hlinkClick r:id="rId9"/>
              </a:rPr>
              <a:t>https://cdn.statically.io/gh/w3c/wot/master/charters/wot-wg-charter-draft-2019.html?env=dev</a:t>
            </a:r>
            <a:br>
              <a:rPr lang="en-US" sz="2100" dirty="0"/>
            </a:br>
            <a:r>
              <a:rPr lang="en-US" sz="2100" dirty="0"/>
              <a:t>(new charter draft)</a:t>
            </a:r>
          </a:p>
          <a:p>
            <a:pPr lvl="1"/>
            <a:r>
              <a:rPr lang="en-US" sz="2100" dirty="0">
                <a:hlinkClick r:id="rId10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</a:t>
            </a:r>
            <a:r>
              <a:rPr lang="en-US" sz="2900" dirty="0"/>
              <a:t>Proposed Recommendations</a:t>
            </a:r>
          </a:p>
          <a:p>
            <a:pPr lvl="1"/>
            <a:r>
              <a:rPr lang="en-US" sz="2100" dirty="0">
                <a:hlinkClick r:id="rId11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3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6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9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20"/>
              </a:rPr>
              <a:t>https://github.com/w3c/wot-security/</a:t>
            </a:r>
            <a:endParaRPr lang="en-US" sz="2100" dirty="0"/>
          </a:p>
          <a:p>
            <a:pPr lvl="1"/>
            <a:r>
              <a:rPr lang="en-CA" sz="2100" dirty="0">
                <a:hlinkClick r:id="rId21"/>
              </a:rPr>
              <a:t>https://github.com/w3c/wot-security-best-practices/</a:t>
            </a:r>
            <a:endParaRPr lang="en-CA" sz="2100" dirty="0"/>
          </a:p>
          <a:p>
            <a:pPr lvl="1"/>
            <a:r>
              <a:rPr lang="en-CA" sz="2100" dirty="0">
                <a:hlinkClick r:id="rId22"/>
              </a:rPr>
              <a:t>https://github.com/w3c/wot-profile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s and Tools: node-wot</a:t>
            </a:r>
          </a:p>
          <a:p>
            <a:pPr lvl="1"/>
            <a:r>
              <a:rPr lang="en-US" sz="2100" u="sng" dirty="0">
                <a:hlinkClick r:id="rId23"/>
              </a:rPr>
              <a:t>node-wot: https://github.com/eclipse/thingweb.node-wot</a:t>
            </a:r>
            <a:endParaRPr lang="en-US" sz="2100" u="sng" dirty="0"/>
          </a:p>
          <a:p>
            <a:pPr lvl="1"/>
            <a:r>
              <a:rPr lang="en-US" sz="2100" u="sng" dirty="0">
                <a:hlinkClick r:id="rId24"/>
              </a:rPr>
              <a:t>TD playground: https://github.com/thingweb/thingweb-playground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  <p:pic>
        <p:nvPicPr>
          <p:cNvPr id="6" name="Picture 5" descr="C:\Users\z0010w1v\Pictures\wot-logo.png">
            <a:extLst>
              <a:ext uri="{FF2B5EF4-FFF2-40B4-BE49-F238E27FC236}">
                <a16:creationId xmlns:a16="http://schemas.microsoft.com/office/drawing/2014/main" id="{698F65FD-457B-984C-8C00-57ADBC8F19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  <p:pic>
        <p:nvPicPr>
          <p:cNvPr id="7" name="Picture 2" descr="http://www.thingweb.io/img/logo.png">
            <a:extLst>
              <a:ext uri="{FF2B5EF4-FFF2-40B4-BE49-F238E27FC236}">
                <a16:creationId xmlns:a16="http://schemas.microsoft.com/office/drawing/2014/main" id="{DD19319C-254E-5244-9634-069C2CBB70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8583" y="5443558"/>
            <a:ext cx="899701" cy="291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2687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de-DE" b="1" dirty="0"/>
              <a:t>Dr. Sebastian Kaebisch</a:t>
            </a:r>
          </a:p>
          <a:p>
            <a:pPr marL="0" indent="0">
              <a:buNone/>
            </a:pPr>
            <a:r>
              <a:rPr lang="en-US" dirty="0"/>
              <a:t>Senior Key Expert Research Scientis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Siemens</a:t>
            </a:r>
          </a:p>
          <a:p>
            <a:pPr marL="0" indent="0">
              <a:buNone/>
            </a:pPr>
            <a:r>
              <a:rPr lang="en-US" dirty="0"/>
              <a:t>Corporate Technology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sebastian.kaebisch@siemens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  <p:pic>
        <p:nvPicPr>
          <p:cNvPr id="9" name="Picture 4" descr="C:\Users\z0010w1v\Pictures\wot-logo.png">
            <a:extLst>
              <a:ext uri="{FF2B5EF4-FFF2-40B4-BE49-F238E27FC236}">
                <a16:creationId xmlns:a16="http://schemas.microsoft.com/office/drawing/2014/main" id="{C60061A1-9E31-477F-AE9F-54D30014E1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29936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1175B75E-051F-4E92-807C-2D97C31519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405297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sp>
        <p:nvSpPr>
          <p:cNvPr id="5" name="Explosion 2 4"/>
          <p:cNvSpPr/>
          <p:nvPr/>
        </p:nvSpPr>
        <p:spPr>
          <a:xfrm>
            <a:off x="8619455" y="2800359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6" name="Explosion 2 5"/>
          <p:cNvSpPr/>
          <p:nvPr/>
        </p:nvSpPr>
        <p:spPr>
          <a:xfrm>
            <a:off x="3608763" y="554850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sp>
        <p:nvSpPr>
          <p:cNvPr id="86" name="Explosion 2 85"/>
          <p:cNvSpPr/>
          <p:nvPr/>
        </p:nvSpPr>
        <p:spPr>
          <a:xfrm>
            <a:off x="1533229" y="2662791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447B968C-512D-4BF8-B2AF-6AED2D679E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  <p:sp>
        <p:nvSpPr>
          <p:cNvPr id="36" name="Explosion 2 35"/>
          <p:cNvSpPr/>
          <p:nvPr/>
        </p:nvSpPr>
        <p:spPr>
          <a:xfrm>
            <a:off x="5379095" y="1731756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37" name="Explosion 2 36"/>
          <p:cNvSpPr/>
          <p:nvPr/>
        </p:nvSpPr>
        <p:spPr>
          <a:xfrm>
            <a:off x="8742151" y="5275635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877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6" grpId="0" animBg="1"/>
      <p:bldP spid="36" grpId="0" animBg="1"/>
      <p:bldP spid="3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ublished</a:t>
            </a:r>
            <a:r>
              <a:rPr lang="de-DE" dirty="0"/>
              <a:t> </a:t>
            </a:r>
            <a:r>
              <a:rPr lang="de-DE" dirty="0" err="1"/>
              <a:t>Proposed</a:t>
            </a:r>
            <a:r>
              <a:rPr lang="de-DE" dirty="0"/>
              <a:t>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363" y="1062032"/>
            <a:ext cx="5514971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title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3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  <p:pic>
        <p:nvPicPr>
          <p:cNvPr id="22" name="Picture 21" descr="C:\Users\z0010w1v\Pictures\wot-logo.png">
            <a:extLst>
              <a:ext uri="{FF2B5EF4-FFF2-40B4-BE49-F238E27FC236}">
                <a16:creationId xmlns:a16="http://schemas.microsoft.com/office/drawing/2014/main" id="{452DAC49-5F5B-4177-BFE9-C8BB00CDE4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260794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WG No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/>
              <a:t>WoT Security and Privacy Guidelines</a:t>
            </a:r>
          </a:p>
          <a:p>
            <a:pPr lvl="1"/>
            <a:r>
              <a:rPr lang="de-DE" dirty="0"/>
              <a:t>Details beyond the security considerations in each specification for a holistic security and privacy configuration of Things</a:t>
            </a:r>
          </a:p>
          <a:p>
            <a:pPr lvl="1"/>
            <a:r>
              <a:rPr lang="de-DE" dirty="0"/>
              <a:t>Security testing plan</a:t>
            </a:r>
          </a:p>
          <a:p>
            <a:endParaRPr lang="de-DE" dirty="0"/>
          </a:p>
          <a:p>
            <a:r>
              <a:rPr lang="de-DE" b="1" dirty="0"/>
              <a:t>WoT Binding Templates</a:t>
            </a:r>
            <a:endParaRPr lang="en-US" b="1" dirty="0"/>
          </a:p>
          <a:p>
            <a:pPr lvl="1"/>
            <a:r>
              <a:rPr lang="de-DE"/>
              <a:t>Documentation </a:t>
            </a:r>
            <a:r>
              <a:rPr lang="de-DE" dirty="0"/>
              <a:t>for how to describe existing IoT ecosystems (e.g., OCF or generic Web) with WoT Thing Description</a:t>
            </a:r>
          </a:p>
          <a:p>
            <a:pPr lvl="1"/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 dirty="0"/>
              <a:t>WoT Scripting API</a:t>
            </a:r>
          </a:p>
          <a:p>
            <a:pPr lvl="1"/>
            <a:r>
              <a:rPr lang="de-DE" dirty="0"/>
              <a:t>Proposal for a standard API to consume and produce WoT Thing Descriptions</a:t>
            </a:r>
          </a:p>
          <a:p>
            <a:pPr lvl="1"/>
            <a:r>
              <a:rPr lang="de-DE" dirty="0"/>
              <a:t>Provides interface between applications and network-facing API of IoT devices</a:t>
            </a:r>
            <a:br>
              <a:rPr lang="de-DE" dirty="0"/>
            </a:br>
            <a:r>
              <a:rPr lang="de-DE" dirty="0"/>
              <a:t>(cf. Web browser APIs)</a:t>
            </a:r>
          </a:p>
        </p:txBody>
      </p:sp>
      <p:pic>
        <p:nvPicPr>
          <p:cNvPr id="5" name="Picture 4" descr="C:\Users\z0010w1v\Pictures\wot-logo.png">
            <a:extLst>
              <a:ext uri="{FF2B5EF4-FFF2-40B4-BE49-F238E27FC236}">
                <a16:creationId xmlns:a16="http://schemas.microsoft.com/office/drawing/2014/main" id="{B0880B65-257F-4E27-A278-5B4E13E8A0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09094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Key Design Deci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notation (name: value) instead of arrays</a:t>
            </a:r>
          </a:p>
          <a:p>
            <a:pPr lvl="1"/>
            <a:r>
              <a:rPr lang="en-US" dirty="0"/>
              <a:t>Alignment with common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S (Basic Auth, Digest, Bearer Tokens, PSK, OAuth2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 and structured payloads compatible with JSON</a:t>
            </a:r>
          </a:p>
          <a:p>
            <a:pPr lvl="1"/>
            <a:r>
              <a:rPr lang="en-US" dirty="0"/>
              <a:t>Support for Events using subprotocols (e.g., long polling in HTTP)</a:t>
            </a:r>
          </a:p>
          <a:p>
            <a:r>
              <a:rPr lang="de-DE" dirty="0"/>
              <a:t>Extension Points</a:t>
            </a:r>
          </a:p>
          <a:p>
            <a:pPr lvl="1"/>
            <a:r>
              <a:rPr lang="de-DE" dirty="0"/>
              <a:t>CoAP(S), MQTT(S), and further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schemes</a:t>
            </a:r>
            <a:endParaRPr lang="de-DE" dirty="0"/>
          </a:p>
          <a:p>
            <a:pPr lvl="1"/>
            <a:r>
              <a:rPr lang="de-DE" dirty="0"/>
              <a:t>Semantic annotations with custom vocabularies (JSON-LD @context and @type)</a:t>
            </a:r>
            <a:endParaRPr lang="en-US" b="1" i="1" dirty="0"/>
          </a:p>
          <a:p>
            <a:endParaRPr lang="en-US" dirty="0"/>
          </a:p>
        </p:txBody>
      </p:sp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E5C3476F-E6BE-43E5-B66C-E28476D280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29317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CFC6D2-2D92-1142-B5A5-6FA268070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8CA38F-601D-DE4D-90EC-962698B896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5E5EC5-B328-8B4D-A980-0409DB78A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FE0275-CA2E-C941-BB51-F083F633A4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331" y="854322"/>
            <a:ext cx="10707687" cy="6017720"/>
          </a:xfrm>
          <a:prstGeom prst="rect">
            <a:avLst/>
          </a:prstGeom>
        </p:spPr>
      </p:pic>
      <p:pic>
        <p:nvPicPr>
          <p:cNvPr id="6" name="Picture 5" descr="C:\Users\z0010w1v\Pictures\wot-logo.png">
            <a:extLst>
              <a:ext uri="{FF2B5EF4-FFF2-40B4-BE49-F238E27FC236}">
                <a16:creationId xmlns:a16="http://schemas.microsoft.com/office/drawing/2014/main" id="{8AE6B80D-672D-5345-87DA-88E4955372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0390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2825E-1D64-4D28-9F42-638E25D81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Workshop: Munich 2019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9426760-D497-4B8C-A4E9-1DE7346DBB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189" y="2923972"/>
            <a:ext cx="5523111" cy="3682074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3EFA1A-3A50-47B3-A20A-7B15D9CACB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0085" y="952163"/>
            <a:ext cx="4167842" cy="277856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AA6025-5A58-44A2-8FAB-C3D7B6943F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2676" y="952163"/>
            <a:ext cx="3994980" cy="26633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F3AA8F5-8D39-46A0-8B39-56164FDC90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5294" y="3291950"/>
            <a:ext cx="5003700" cy="3335800"/>
          </a:xfrm>
          <a:prstGeom prst="rect">
            <a:avLst/>
          </a:prstGeom>
        </p:spPr>
      </p:pic>
      <p:pic>
        <p:nvPicPr>
          <p:cNvPr id="8" name="Picture 7" descr="C:\Users\z0010w1v\Pictures\wot-logo.png">
            <a:extLst>
              <a:ext uri="{FF2B5EF4-FFF2-40B4-BE49-F238E27FC236}">
                <a16:creationId xmlns:a16="http://schemas.microsoft.com/office/drawing/2014/main" id="{F8B42EE2-0CCF-F749-9137-AD16D03408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91840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ext + Index</Name>
  <PpLayout>32</PpLayout>
  <Index>8</Index>
</p4ppTags>
</file>

<file path=customXml/item10.xml><?xml version="1.0" encoding="utf-8"?>
<p4ppTags>
  <Name>Free Content + Navigation</Name>
  <PpLayout>32</PpLayout>
  <Index>16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Two rows</Name>
  <PpLayout>32</PpLayout>
  <Index>13</Index>
</p4ppTags>
</file>

<file path=customXml/item13.xml><?xml version="1.0" encoding="utf-8"?>
<p4ppTags>
  <Name>One object (small) + Navigation</Name>
  <PpLayout>32</PpLayout>
  <Index>18</Index>
</p4ppTags>
</file>

<file path=customXml/item2.xml><?xml version="1.0" encoding="utf-8"?>
<p4ppTags>
  <Name>Three columns + Navigation</Name>
  <PpLayout>32</PpLayout>
  <Index>20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>
  <Name>Three columns</Name>
  <PpLayout>32</PpLayout>
  <Index>14</Index>
</p4ppTags>
</file>

<file path=customXml/item5.xml><?xml version="1.0" encoding="utf-8"?>
<p4ppTags>
  <Name>Four objects</Name>
  <PpLayout>24</PpLayout>
  <Index>15</Index>
</p4ppTags>
</file>

<file path=customXml/item6.xml><?xml version="1.0" encoding="utf-8"?>
<p4ppTags>
  <Name>One object (large)</Name>
  <PpLayout>16</PpLayout>
  <Index>10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4ppTags>
  <Name>One object (large) + Navigation</Name>
  <PpLayout>32</PpLayout>
  <Index>17</Index>
</p4ppTags>
</file>

<file path=customXml/item9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0D9599B2-641B-429C-8C85-C591ECF8C990}">
  <ds:schemaRefs/>
</ds:datastoreItem>
</file>

<file path=customXml/itemProps10.xml><?xml version="1.0" encoding="utf-8"?>
<ds:datastoreItem xmlns:ds="http://schemas.openxmlformats.org/officeDocument/2006/customXml" ds:itemID="{3C206999-0CDF-47B3-B85E-D5652B9D7810}">
  <ds:schemaRefs/>
</ds:datastoreItem>
</file>

<file path=customXml/itemProps11.xml><?xml version="1.0" encoding="utf-8"?>
<ds:datastoreItem xmlns:ds="http://schemas.openxmlformats.org/officeDocument/2006/customXml" ds:itemID="{9299034F-B9D7-46FC-B241-DC94BF0E67F6}">
  <ds:schemaRefs/>
</ds:datastoreItem>
</file>

<file path=customXml/itemProps12.xml><?xml version="1.0" encoding="utf-8"?>
<ds:datastoreItem xmlns:ds="http://schemas.openxmlformats.org/officeDocument/2006/customXml" ds:itemID="{F14BB4E7-BF22-46E2-AA3C-1ABA12A0B021}">
  <ds:schemaRefs/>
</ds:datastoreItem>
</file>

<file path=customXml/itemProps13.xml><?xml version="1.0" encoding="utf-8"?>
<ds:datastoreItem xmlns:ds="http://schemas.openxmlformats.org/officeDocument/2006/customXml" ds:itemID="{0091252C-F36F-40C9-984C-22582B3E6FB3}">
  <ds:schemaRefs/>
</ds:datastoreItem>
</file>

<file path=customXml/itemProps2.xml><?xml version="1.0" encoding="utf-8"?>
<ds:datastoreItem xmlns:ds="http://schemas.openxmlformats.org/officeDocument/2006/customXml" ds:itemID="{69E3DA23-9724-4848-A6F6-2F0F36B1F914}">
  <ds:schemaRefs/>
</ds:datastoreItem>
</file>

<file path=customXml/itemProps3.xml><?xml version="1.0" encoding="utf-8"?>
<ds:datastoreItem xmlns:ds="http://schemas.openxmlformats.org/officeDocument/2006/customXml" ds:itemID="{B19D05D1-AE0E-4B0D-AA6A-E4DC4507B75E}">
  <ds:schemaRefs/>
</ds:datastoreItem>
</file>

<file path=customXml/itemProps4.xml><?xml version="1.0" encoding="utf-8"?>
<ds:datastoreItem xmlns:ds="http://schemas.openxmlformats.org/officeDocument/2006/customXml" ds:itemID="{8699A006-2152-4093-B4FC-C6BF20D5E592}">
  <ds:schemaRefs/>
</ds:datastoreItem>
</file>

<file path=customXml/itemProps5.xml><?xml version="1.0" encoding="utf-8"?>
<ds:datastoreItem xmlns:ds="http://schemas.openxmlformats.org/officeDocument/2006/customXml" ds:itemID="{4E8C063E-54DF-40B8-B6B7-24C91B170904}">
  <ds:schemaRefs/>
</ds:datastoreItem>
</file>

<file path=customXml/itemProps6.xml><?xml version="1.0" encoding="utf-8"?>
<ds:datastoreItem xmlns:ds="http://schemas.openxmlformats.org/officeDocument/2006/customXml" ds:itemID="{864B6C15-1FF1-4ADA-8DBE-CD1DAF35B070}">
  <ds:schemaRefs/>
</ds:datastoreItem>
</file>

<file path=customXml/itemProps7.xml><?xml version="1.0" encoding="utf-8"?>
<ds:datastoreItem xmlns:ds="http://schemas.openxmlformats.org/officeDocument/2006/customXml" ds:itemID="{A27DC4FC-F9FA-4AC8-AAAA-729E607CE7E5}">
  <ds:schemaRefs/>
</ds:datastoreItem>
</file>

<file path=customXml/itemProps8.xml><?xml version="1.0" encoding="utf-8"?>
<ds:datastoreItem xmlns:ds="http://schemas.openxmlformats.org/officeDocument/2006/customXml" ds:itemID="{F718F79D-2091-4AD7-864E-B9B95B323394}">
  <ds:schemaRefs/>
</ds:datastoreItem>
</file>

<file path=customXml/itemProps9.xml><?xml version="1.0" encoding="utf-8"?>
<ds:datastoreItem xmlns:ds="http://schemas.openxmlformats.org/officeDocument/2006/customXml" ds:itemID="{B5096DD8-53C8-4E83-8664-FC4F8BE8B72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89</Words>
  <Application>Microsoft Macintosh PowerPoint</Application>
  <PresentationFormat>Benutzerdefiniert</PresentationFormat>
  <Paragraphs>252</Paragraphs>
  <Slides>23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0</vt:i4>
      </vt:variant>
      <vt:variant>
        <vt:lpstr>Folientitel</vt:lpstr>
      </vt:variant>
      <vt:variant>
        <vt:i4>23</vt:i4>
      </vt:variant>
    </vt:vector>
  </HeadingPairs>
  <TitlesOfParts>
    <vt:vector size="42" baseType="lpstr">
      <vt:lpstr>Arial</vt:lpstr>
      <vt:lpstr>Calibri</vt:lpstr>
      <vt:lpstr>Consolas</vt:lpstr>
      <vt:lpstr>Courier New</vt:lpstr>
      <vt:lpstr>Intel Clear</vt:lpstr>
      <vt:lpstr>Intel Clear Pro</vt:lpstr>
      <vt:lpstr>Neo Sans Intel</vt:lpstr>
      <vt:lpstr>Neo Sans Intel Medium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WoT Status Update</vt:lpstr>
      <vt:lpstr>W3C Web of Things</vt:lpstr>
      <vt:lpstr>W3C Web of Things – Building Blocks</vt:lpstr>
      <vt:lpstr>W3C Web of Things – Building Blocks</vt:lpstr>
      <vt:lpstr>Published Proposed Recommendations</vt:lpstr>
      <vt:lpstr>Published WG Notes</vt:lpstr>
      <vt:lpstr>Status and Key Design Decisions</vt:lpstr>
      <vt:lpstr>Use Case Overview</vt:lpstr>
      <vt:lpstr>WoT Workshop: Munich 2019</vt:lpstr>
      <vt:lpstr>Plugfest</vt:lpstr>
      <vt:lpstr>Plugfest Devices</vt:lpstr>
      <vt:lpstr>Scenario 1: Home/Building</vt:lpstr>
      <vt:lpstr>PowerPoint-Präsentation</vt:lpstr>
      <vt:lpstr>PowerPoint-Präsentation</vt:lpstr>
      <vt:lpstr>Scenario 2: Industrial</vt:lpstr>
      <vt:lpstr>PowerPoint-Präsentation</vt:lpstr>
      <vt:lpstr>PowerPoint-Präsentation</vt:lpstr>
      <vt:lpstr>NHK Hybridcast Integration</vt:lpstr>
      <vt:lpstr>PowerPoint-Präsentation</vt:lpstr>
      <vt:lpstr>Orchestration</vt:lpstr>
      <vt:lpstr>Thing Description Playground</vt:lpstr>
      <vt:lpstr>W3C WoT Resource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Kaebisch, Sebastian (CT RDA IOT EWT-DE)</cp:lastModifiedBy>
  <cp:revision>313</cp:revision>
  <dcterms:created xsi:type="dcterms:W3CDTF">2018-05-15T12:31:41Z</dcterms:created>
  <dcterms:modified xsi:type="dcterms:W3CDTF">2020-02-04T07:5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e2a4d6ce-cd2a-43aa-acfc-f42f7448afd3</vt:lpwstr>
  </property>
  <property fmtid="{D5CDD505-2E9C-101B-9397-08002B2CF9AE}" pid="3" name="CTP_TimeStamp">
    <vt:lpwstr>2019-09-19 00:56:1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